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</p:sldIdLst>
  <p:sldSz cx="9144000" cy="6858000" type="screen4x3"/>
  <p:notesSz cx="6858000" cy="9144000"/>
  <p:custDataLst>
    <p:tags r:id="rId1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2A7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229" autoAdjust="0"/>
    <p:restoredTop sz="94708"/>
  </p:normalViewPr>
  <p:slideViewPr>
    <p:cSldViewPr snapToObjects="1">
      <p:cViewPr>
        <p:scale>
          <a:sx n="170" d="100"/>
          <a:sy n="170" d="100"/>
        </p:scale>
        <p:origin x="656" y="-15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1.09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image" Target="../media/image6.png"/><Relationship Id="rId10" Type="http://schemas.openxmlformats.org/officeDocument/2006/relationships/image" Target="../media/image10.png"/><Relationship Id="rId4" Type="http://schemas.openxmlformats.org/officeDocument/2006/relationships/image" Target="../media/image5.emf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11" Type="http://schemas.openxmlformats.org/officeDocument/2006/relationships/image" Target="../media/image10.png"/><Relationship Id="rId5" Type="http://schemas.openxmlformats.org/officeDocument/2006/relationships/image" Target="../media/image11.jpg"/><Relationship Id="rId10" Type="http://schemas.openxmlformats.org/officeDocument/2006/relationships/image" Target="../media/image9.png"/><Relationship Id="rId4" Type="http://schemas.openxmlformats.org/officeDocument/2006/relationships/image" Target="../media/image5.emf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377" y="3607651"/>
            <a:ext cx="9142868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4293096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4100735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540069" y="6518975"/>
            <a:ext cx="4016526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9424A5F-8D32-4A6E-8F5F-199E16A5154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87407" y="6480765"/>
            <a:ext cx="741450" cy="24928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BB09308-7B1A-4477-98EA-D397BF936B4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822014" y="6491418"/>
            <a:ext cx="516459" cy="24928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189295D-63D3-4604-BE39-82AA9C00AF9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48995" y="6555016"/>
            <a:ext cx="954937" cy="10610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225D484-0100-499B-96A2-DBF3589907B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643374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  <p:pic>
        <p:nvPicPr>
          <p:cNvPr id="8" name="Bilde 20">
            <a:extLst>
              <a:ext uri="{FF2B5EF4-FFF2-40B4-BE49-F238E27FC236}">
                <a16:creationId xmlns:a16="http://schemas.microsoft.com/office/drawing/2014/main" id="{AD2E6718-19A0-4DDF-90F0-8881B6C5D8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35F9E37-461D-43DD-A805-6FE0A11AA65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11" name="Bilde 20">
            <a:extLst>
              <a:ext uri="{FF2B5EF4-FFF2-40B4-BE49-F238E27FC236}">
                <a16:creationId xmlns:a16="http://schemas.microsoft.com/office/drawing/2014/main" id="{981F2E49-D8B3-4216-B28D-175DBCC09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2" name="Bilde 20">
            <a:extLst>
              <a:ext uri="{FF2B5EF4-FFF2-40B4-BE49-F238E27FC236}">
                <a16:creationId xmlns:a16="http://schemas.microsoft.com/office/drawing/2014/main" id="{985501D2-9D5C-4DBB-9FEA-EC46E998E5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9144000" cy="601675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2720980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2528619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540068" y="6518975"/>
            <a:ext cx="4247956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B3A2DFE-0F8E-4C18-9FC4-A9F4F5431CC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587407" y="6480765"/>
            <a:ext cx="741450" cy="24928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1D0B89D3-3C96-4056-A1BB-14E36948AA0F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822014" y="6491418"/>
            <a:ext cx="516459" cy="24928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F32D950-B540-4D19-A9B9-30563952698F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648995" y="6555016"/>
            <a:ext cx="954937" cy="10610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08AF5B2-7BFE-481A-9FCA-619F4E6D35E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643374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4644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8064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4645211" y="4122774"/>
            <a:ext cx="396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3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540068" y="2590800"/>
            <a:ext cx="396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4647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4644068" y="2590800"/>
            <a:ext cx="396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40068" y="1429020"/>
            <a:ext cx="8064000" cy="246221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0068" y="1912859"/>
            <a:ext cx="8064000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540000" y="18000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0"/>
            <a:ext cx="9144000" cy="713232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6F59E5C3-EFF7-459F-AFEC-AEBAF51A2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7F54FDE2-23B5-4B2A-9B67-0E8638AFEA4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17" name="Bilde 20">
            <a:extLst>
              <a:ext uri="{FF2B5EF4-FFF2-40B4-BE49-F238E27FC236}">
                <a16:creationId xmlns:a16="http://schemas.microsoft.com/office/drawing/2014/main" id="{9C4CA1D0-8B8B-412B-954D-4527A239A0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8" name="Bilde 20">
            <a:extLst>
              <a:ext uri="{FF2B5EF4-FFF2-40B4-BE49-F238E27FC236}">
                <a16:creationId xmlns:a16="http://schemas.microsoft.com/office/drawing/2014/main" id="{8BCAC0BC-1D15-4185-AA9F-2047B8F780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Undertittel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b-NO"/>
              <a:t>ARRANGEMENT DATO STED</a:t>
            </a:r>
          </a:p>
        </p:txBody>
      </p:sp>
      <p:sp>
        <p:nvSpPr>
          <p:cNvPr id="2" name="Avrundet rektangel 1">
            <a:extLst>
              <a:ext uri="{FF2B5EF4-FFF2-40B4-BE49-F238E27FC236}">
                <a16:creationId xmlns:a16="http://schemas.microsoft.com/office/drawing/2014/main" id="{7686E103-619E-DE17-337F-111F21CE3834}"/>
              </a:ext>
            </a:extLst>
          </p:cNvPr>
          <p:cNvSpPr/>
          <p:nvPr/>
        </p:nvSpPr>
        <p:spPr>
          <a:xfrm>
            <a:off x="6804248" y="6486155"/>
            <a:ext cx="576064" cy="257999"/>
          </a:xfrm>
          <a:prstGeom prst="roundRect">
            <a:avLst/>
          </a:prstGeom>
          <a:solidFill>
            <a:srgbClr val="00A2A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B948347-701D-D2D8-18E0-CB87205B85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5700" y="6453336"/>
            <a:ext cx="273159" cy="290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3244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7404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ARRANGEMENT DATO STED</a:t>
            </a:r>
            <a:endParaRPr lang="nb-NO" dirty="0"/>
          </a:p>
        </p:txBody>
      </p:sp>
      <p:sp>
        <p:nvSpPr>
          <p:cNvPr id="5" name="Avrundet rektangel 4">
            <a:extLst>
              <a:ext uri="{FF2B5EF4-FFF2-40B4-BE49-F238E27FC236}">
                <a16:creationId xmlns:a16="http://schemas.microsoft.com/office/drawing/2014/main" id="{E0917B9B-2EC0-03E8-1AD0-FDCF364B2CE7}"/>
              </a:ext>
            </a:extLst>
          </p:cNvPr>
          <p:cNvSpPr/>
          <p:nvPr/>
        </p:nvSpPr>
        <p:spPr>
          <a:xfrm>
            <a:off x="6804248" y="6486155"/>
            <a:ext cx="576064" cy="257999"/>
          </a:xfrm>
          <a:prstGeom prst="roundRect">
            <a:avLst/>
          </a:prstGeom>
          <a:solidFill>
            <a:srgbClr val="00A2A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2087563" indent="-1630363"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4175125" indent="-3260725"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6264275" indent="-4892675"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8351838" indent="-6523038" algn="l" defTabSz="4175125" rtl="0" fontAlgn="base">
              <a:spcBef>
                <a:spcPct val="0"/>
              </a:spcBef>
              <a:spcAft>
                <a:spcPct val="0"/>
              </a:spcAft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8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013BE89A-0A91-3401-9908-02FDCBAD27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5700" y="6453336"/>
            <a:ext cx="273159" cy="290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68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55945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1729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3789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71895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954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9244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168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v2.potx" id="{598BCA67-136E-490C-AEA3-9B6A74BD289D}" vid="{47A6FFF1-7BD6-4956-8C11-919887083D91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</TotalTime>
  <Words>14</Words>
  <Application>Microsoft Macintosh PowerPoint</Application>
  <PresentationFormat>Skjermfremvisning (4:3)</PresentationFormat>
  <Paragraphs>10</Paragraphs>
  <Slides>10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4" baseType="lpstr">
      <vt:lpstr>Arial</vt:lpstr>
      <vt:lpstr>Calibri</vt:lpstr>
      <vt:lpstr>blank</vt:lpstr>
      <vt:lpstr>think-cell Sl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Ellen Viste</dc:creator>
  <cp:lastModifiedBy>Ellen Viste</cp:lastModifiedBy>
  <cp:revision>2</cp:revision>
  <dcterms:created xsi:type="dcterms:W3CDTF">2019-06-05T13:39:53Z</dcterms:created>
  <dcterms:modified xsi:type="dcterms:W3CDTF">2023-09-21T11:47:40Z</dcterms:modified>
</cp:coreProperties>
</file>